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88" d="100"/>
          <a:sy n="88" d="100"/>
        </p:scale>
        <p:origin x="52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6/07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rivate Water Hedge Sal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ublic Sal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sidential Sales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(0211) Sof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(0212) H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(0211) Sof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(0212) Har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(0211) Soft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(001)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Heat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Electricity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11</TotalTime>
  <Words>81</Words>
  <Application>Microsoft Office PowerPoint</Application>
  <PresentationFormat>Custom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James</cp:lastModifiedBy>
  <cp:revision>36</cp:revision>
  <dcterms:created xsi:type="dcterms:W3CDTF">2020-04-12T13:23:13Z</dcterms:created>
  <dcterms:modified xsi:type="dcterms:W3CDTF">2021-07-27T06:57:51Z</dcterms:modified>
</cp:coreProperties>
</file>